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0" r:id="rId3"/>
  </p:sldMasterIdLst>
  <p:notesMasterIdLst>
    <p:notesMasterId r:id="rId8"/>
  </p:notesMasterIdLst>
  <p:sldIdLst>
    <p:sldId id="260" r:id="rId4"/>
    <p:sldId id="258" r:id="rId5"/>
    <p:sldId id="261" r:id="rId6"/>
    <p:sldId id="257" r:id="rId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92D05-6CD6-452A-A7F2-65D37F72E67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F012D4-5F14-456B-935D-E16300FBF4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4172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503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6" y="0"/>
            <a:ext cx="2923630" cy="539503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1.02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1054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574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4094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4770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solidFill>
          <a:srgbClr val="233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497973D-0FE3-2A35-590F-B61E7EE3EF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014FD9C-9C80-F08A-A7FB-7C1B47F55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>
            <a:extLst>
              <a:ext uri="{FF2B5EF4-FFF2-40B4-BE49-F238E27FC236}">
                <a16:creationId xmlns:a16="http://schemas.microsoft.com/office/drawing/2014/main" id="{D3E22855-F484-1710-E4D3-9390939B947D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787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43247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9D1F43E-D985-4D51-9B68-1D050FA79A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854A0D0-A9BB-1C5E-9E0B-79D070690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449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854A0D0-A9BB-1C5E-9E0B-79D070690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5948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B92521F-AA6D-A25E-D94D-C731625BAF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08327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solidFill>
          <a:srgbClr val="233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497973D-0FE3-2A35-590F-B61E7EE3EF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014FD9C-9C80-F08A-A7FB-7C1B47F55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>
            <a:extLst>
              <a:ext uri="{FF2B5EF4-FFF2-40B4-BE49-F238E27FC236}">
                <a16:creationId xmlns:a16="http://schemas.microsoft.com/office/drawing/2014/main" id="{D3E22855-F484-1710-E4D3-9390939B947D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9954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solidFill>
          <a:srgbClr val="233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497973D-0FE3-2A35-590F-B61E7EE3EF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>
            <a:extLst>
              <a:ext uri="{FF2B5EF4-FFF2-40B4-BE49-F238E27FC236}">
                <a16:creationId xmlns:a16="http://schemas.microsoft.com/office/drawing/2014/main" id="{D3E22855-F484-1710-E4D3-9390939B947D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7227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bg>
      <p:bgPr>
        <a:solidFill>
          <a:srgbClr val="233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52446" r="-4816" b="9870"/>
          <a:stretch/>
        </p:blipFill>
        <p:spPr>
          <a:xfrm>
            <a:off x="-1" y="-453126"/>
            <a:ext cx="3585307" cy="551739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014FD9C-9C80-F08A-A7FB-7C1B47F55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910724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7970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5592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C0969-526B-4726-9C51-D7465297A853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D7FDA-7B07-47E9-8C86-77E63CB007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375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38403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33023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95388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31711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8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67044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98611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38488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848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8"/>
            <a:ext cx="6172201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3806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67651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9549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60266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393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37430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075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0799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0843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4581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83263B-42EE-475D-91D9-AEE9611E5EAF}" type="datetimeFigureOut">
              <a:rPr lang="ru-RU" smtClean="0"/>
              <a:t>2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609730-1F89-44D3-8634-BA1B73B28F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759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3763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B927E-BF80-4074-939C-87690022747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8858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openxmlformats.org/officeDocument/2006/relationships/image" Target="../media/image13.gi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6" Type="http://schemas.microsoft.com/office/2007/relationships/hdphoto" Target="../media/hdphoto2.wdp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hyperlink" Target="mailto:vopros@prosv.ru" TargetMode="External"/><Relationship Id="rId7" Type="http://schemas.openxmlformats.org/officeDocument/2006/relationships/hyperlink" Target="https://lecta.ru/" TargetMode="External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5" Type="http://schemas.openxmlformats.org/officeDocument/2006/relationships/hyperlink" Target="mailto:OEAntonova@prosv.ru" TargetMode="External"/><Relationship Id="rId4" Type="http://schemas.openxmlformats.org/officeDocument/2006/relationships/hyperlink" Target="mailto:IDimova@prosv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8B25BD6-3500-765E-196A-BF54821BF9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" r="3395" b="1697"/>
          <a:stretch/>
        </p:blipFill>
        <p:spPr>
          <a:xfrm>
            <a:off x="-4775" y="0"/>
            <a:ext cx="12192000" cy="6858000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9425" y="5782110"/>
            <a:ext cx="592137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бы 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без 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 г.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3F6D87B1-092F-8439-B98B-D2C4DA0737E8}"/>
              </a:ext>
            </a:extLst>
          </p:cNvPr>
          <p:cNvSpPr txBox="1">
            <a:spLocks/>
          </p:cNvSpPr>
          <p:nvPr/>
        </p:nvSpPr>
        <p:spPr>
          <a:xfrm>
            <a:off x="479425" y="1976294"/>
            <a:ext cx="3469646" cy="26296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20000"/>
              </a:lnSpc>
              <a:spcBef>
                <a:spcPts val="0"/>
              </a:spcBef>
              <a:defRPr/>
            </a:pPr>
            <a:r>
              <a:rPr lang="ru-RU" b="1" dirty="0">
                <a:solidFill>
                  <a:schemeClr val="bg1"/>
                </a:solidFill>
                <a:ea typeface="Open Sans Condensed" pitchFamily="34" charset="0"/>
                <a:cs typeface="Open Sans Condensed" pitchFamily="34" charset="0"/>
              </a:rPr>
              <a:t>Как организовать поэтапаное закрепление изученного материала с помощью цифрового сервиса "Домашние задания"</a:t>
            </a:r>
            <a:endParaRPr lang="ru-RU" b="1" dirty="0">
              <a:solidFill>
                <a:schemeClr val="bg1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E72057C-EE7E-C9E6-36DA-5A2A1647BC4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" r="71" b="18722"/>
          <a:stretch/>
        </p:blipFill>
        <p:spPr>
          <a:xfrm>
            <a:off x="407761" y="460337"/>
            <a:ext cx="2819123" cy="764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833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74704BB9-CCFD-7EF6-075B-5EC35CC193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75" b="10875"/>
          <a:stretch/>
        </p:blipFill>
        <p:spPr>
          <a:xfrm>
            <a:off x="571435" y="1899263"/>
            <a:ext cx="6337070" cy="4958737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93076" y="678346"/>
            <a:ext cx="5526389" cy="131776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193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Сервис выдач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и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 домашних заданий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для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учащи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х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ся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ts val="2193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5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─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11 классов по всем основным предметам школьной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</a:rPr>
              <a:t>программы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052" name="Picture 4" descr="Компьютерные иконки Педагогическое образование Педагогическое образование  Обучение, учитель, синий, текст png | PNGEg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86782" y1="8358" x2="86782" y2="8358"/>
                        <a14:foregroundMark x1="24425" y1="7761" x2="24425" y2="7761"/>
                      </a14:backgroundRemoval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57680" y="4884218"/>
            <a:ext cx="692002" cy="73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Компьютерные иконки Офисный стол, Услуги, угол, здание, текст png | PNGWi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6333" l="10000" r="90000">
                        <a14:foregroundMark x1="51087" y1="16500" x2="51087" y2="16500"/>
                        <a14:foregroundMark x1="52065" y1="37833" x2="52065" y2="37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70147" y="2942430"/>
            <a:ext cx="1127793" cy="735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Компьютерные иконки стол офис продаж, человек рабочий стол, Разное, текст,  сервис png | PNGWi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60435" y1="30859" x2="60435" y2="30859"/>
                        <a14:foregroundMark x1="55435" y1="47656" x2="55435" y2="47656"/>
                        <a14:foregroundMark x1="62717" y1="44922" x2="62717" y2="44922"/>
                        <a14:foregroundMark x1="38043" y1="50195" x2="38043" y2="50195"/>
                      </a14:backgroundRemoval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00442" y="3880174"/>
            <a:ext cx="1324158" cy="736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Компьютерные иконки Офис Предприниматель Инкапсулированный PostScript,  Вакансия, разное, текст, логотип png | PNGWi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586" b="100000" l="10000" r="90000">
                        <a14:foregroundMark x1="53587" y1="37305" x2="53587" y2="37305"/>
                        <a14:foregroundMark x1="56522" y1="54883" x2="56522" y2="54883"/>
                        <a14:foregroundMark x1="61087" y1="53906" x2="61087" y2="53906"/>
                        <a14:foregroundMark x1="61522" y1="58398" x2="61522" y2="58398"/>
                        <a14:foregroundMark x1="62174" y1="62500" x2="62174" y2="62500"/>
                        <a14:foregroundMark x1="40435" y1="49219" x2="40435" y2="49219"/>
                        <a14:foregroundMark x1="40000" y1="55273" x2="40000" y2="55273"/>
                        <a14:foregroundMark x1="40109" y1="58398" x2="40109" y2="58398"/>
                        <a14:foregroundMark x1="40435" y1="64258" x2="40435" y2="64258"/>
                      </a14:backgroundRemoval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09624" y="1702621"/>
            <a:ext cx="1573120" cy="87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C13CD1A-B776-5723-AC90-0048CC23AE0A}"/>
              </a:ext>
            </a:extLst>
          </p:cNvPr>
          <p:cNvSpPr/>
          <p:nvPr/>
        </p:nvSpPr>
        <p:spPr>
          <a:xfrm>
            <a:off x="393076" y="414459"/>
            <a:ext cx="10701644" cy="409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416800" algn="l"/>
              </a:tabLst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Цифровой сервис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«Домашние задания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Calibri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64425" y="1778036"/>
            <a:ext cx="3808351" cy="1703548"/>
            <a:chOff x="7464425" y="1778036"/>
            <a:chExt cx="3808351" cy="1703548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520A2CA7-79E7-42B9-FA0E-8B948F05FC1D}"/>
                </a:ext>
              </a:extLst>
            </p:cNvPr>
            <p:cNvGrpSpPr/>
            <p:nvPr/>
          </p:nvGrpSpPr>
          <p:grpSpPr>
            <a:xfrm>
              <a:off x="7464425" y="2749148"/>
              <a:ext cx="3808350" cy="732436"/>
              <a:chOff x="6598069" y="1219755"/>
              <a:chExt cx="3808350" cy="732436"/>
            </a:xfrm>
          </p:grpSpPr>
          <p:sp>
            <p:nvSpPr>
              <p:cNvPr id="11" name="Скругленный прямоугольник 10">
                <a:extLst>
                  <a:ext uri="{FF2B5EF4-FFF2-40B4-BE49-F238E27FC236}">
                    <a16:creationId xmlns:a16="http://schemas.microsoft.com/office/drawing/2014/main" id="{8694026B-147D-3C01-3095-9A60FCB5351B}"/>
                  </a:ext>
                </a:extLst>
              </p:cNvPr>
              <p:cNvSpPr/>
              <p:nvPr/>
            </p:nvSpPr>
            <p:spPr>
              <a:xfrm>
                <a:off x="6600824" y="1219755"/>
                <a:ext cx="3805595" cy="732436"/>
              </a:xfrm>
              <a:prstGeom prst="roundRect">
                <a:avLst>
                  <a:gd name="adj" fmla="val 50000"/>
                </a:avLst>
              </a:prstGeom>
              <a:solidFill>
                <a:srgbClr val="233C78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553F890-1DEE-B874-5139-C7F5DCB1B085}"/>
                  </a:ext>
                </a:extLst>
              </p:cNvPr>
              <p:cNvSpPr txBox="1"/>
              <p:nvPr/>
            </p:nvSpPr>
            <p:spPr>
              <a:xfrm>
                <a:off x="7307267" y="1429518"/>
                <a:ext cx="307400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Open Sans Condensed" pitchFamily="34" charset="0"/>
                    <a:cs typeface="Open Sans Condensed" pitchFamily="34" charset="0"/>
                  </a:rPr>
                  <a:t>Защита от списывания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Open Sans Condensed" pitchFamily="34" charset="0"/>
                  <a:cs typeface="Open Sans Condensed" pitchFamily="34" charset="0"/>
                </a:endParaRPr>
              </a:p>
            </p:txBody>
          </p:sp>
          <p:sp>
            <p:nvSpPr>
              <p:cNvPr id="17" name="Овал 16">
                <a:extLst>
                  <a:ext uri="{FF2B5EF4-FFF2-40B4-BE49-F238E27FC236}">
                    <a16:creationId xmlns:a16="http://schemas.microsoft.com/office/drawing/2014/main" id="{7EC60F9C-B678-28FA-E0D3-E722B657B970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6598069" y="1231373"/>
                <a:ext cx="709200" cy="7092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33C7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" name="Группа 1"/>
            <p:cNvGrpSpPr/>
            <p:nvPr/>
          </p:nvGrpSpPr>
          <p:grpSpPr>
            <a:xfrm>
              <a:off x="7464425" y="1778036"/>
              <a:ext cx="3808351" cy="732436"/>
              <a:chOff x="7464425" y="1778036"/>
              <a:chExt cx="3808351" cy="732436"/>
            </a:xfrm>
          </p:grpSpPr>
          <p:grpSp>
            <p:nvGrpSpPr>
              <p:cNvPr id="4" name="Группа 3">
                <a:extLst>
                  <a:ext uri="{FF2B5EF4-FFF2-40B4-BE49-F238E27FC236}">
                    <a16:creationId xmlns:a16="http://schemas.microsoft.com/office/drawing/2014/main" id="{C476DCCC-2801-E62E-32B8-309A3889D744}"/>
                  </a:ext>
                </a:extLst>
              </p:cNvPr>
              <p:cNvGrpSpPr/>
              <p:nvPr/>
            </p:nvGrpSpPr>
            <p:grpSpPr>
              <a:xfrm>
                <a:off x="7464425" y="1778036"/>
                <a:ext cx="3808351" cy="732436"/>
                <a:chOff x="6598069" y="1219755"/>
                <a:chExt cx="3808351" cy="732436"/>
              </a:xfrm>
            </p:grpSpPr>
            <p:sp>
              <p:nvSpPr>
                <p:cNvPr id="5" name="Скругленный прямоугольник 4">
                  <a:extLst>
                    <a:ext uri="{FF2B5EF4-FFF2-40B4-BE49-F238E27FC236}">
                      <a16:creationId xmlns:a16="http://schemas.microsoft.com/office/drawing/2014/main" id="{FCEF94BC-884B-DB3C-AF6C-AC9B7D538F71}"/>
                    </a:ext>
                  </a:extLst>
                </p:cNvPr>
                <p:cNvSpPr/>
                <p:nvPr/>
              </p:nvSpPr>
              <p:spPr>
                <a:xfrm>
                  <a:off x="6600824" y="1219755"/>
                  <a:ext cx="3805596" cy="732436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233C78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x-none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TextBox 6">
                  <a:extLst>
                    <a:ext uri="{FF2B5EF4-FFF2-40B4-BE49-F238E27FC236}">
                      <a16:creationId xmlns:a16="http://schemas.microsoft.com/office/drawing/2014/main" id="{534CB9F5-486F-7B23-6FBA-60A57300FBAC}"/>
                    </a:ext>
                  </a:extLst>
                </p:cNvPr>
                <p:cNvSpPr txBox="1"/>
                <p:nvPr/>
              </p:nvSpPr>
              <p:spPr>
                <a:xfrm>
                  <a:off x="7329657" y="1320467"/>
                  <a:ext cx="2968950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400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/>
                      <a:ea typeface="Open Sans Condensed" pitchFamily="34" charset="0"/>
                      <a:cs typeface="Open Sans Condensed" pitchFamily="34" charset="0"/>
                    </a:rPr>
                    <a:t>Верифицированный образовательный контент</a:t>
                  </a:r>
                  <a:endParaRPr kumimoji="0" lang="ru-RU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Open Sans Condensed" pitchFamily="34" charset="0"/>
                    <a:cs typeface="Open Sans Condensed" pitchFamily="34" charset="0"/>
                  </a:endParaRPr>
                </a:p>
              </p:txBody>
            </p:sp>
            <p:sp>
              <p:nvSpPr>
                <p:cNvPr id="8" name="Овал 7">
                  <a:extLst>
                    <a:ext uri="{FF2B5EF4-FFF2-40B4-BE49-F238E27FC236}">
                      <a16:creationId xmlns:a16="http://schemas.microsoft.com/office/drawing/2014/main" id="{5210DF08-2619-98E0-0EB3-75184741851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5400000">
                  <a:off x="6598069" y="1231373"/>
                  <a:ext cx="709200" cy="70920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233C7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x-none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5122" name="Picture 2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30094" y="1812029"/>
                <a:ext cx="577859" cy="656658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5964" y="2787037"/>
              <a:ext cx="577859" cy="656658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Группа 8"/>
          <p:cNvGrpSpPr/>
          <p:nvPr/>
        </p:nvGrpSpPr>
        <p:grpSpPr>
          <a:xfrm>
            <a:off x="7464423" y="3743146"/>
            <a:ext cx="3805593" cy="732436"/>
            <a:chOff x="7464424" y="3901506"/>
            <a:chExt cx="3805593" cy="732436"/>
          </a:xfrm>
        </p:grpSpPr>
        <p:grpSp>
          <p:nvGrpSpPr>
            <p:cNvPr id="47" name="Группа 46">
              <a:extLst>
                <a:ext uri="{FF2B5EF4-FFF2-40B4-BE49-F238E27FC236}">
                  <a16:creationId xmlns:a16="http://schemas.microsoft.com/office/drawing/2014/main" id="{BF201AE1-B0D8-70D0-B622-7D7F91F7F6C6}"/>
                </a:ext>
              </a:extLst>
            </p:cNvPr>
            <p:cNvGrpSpPr/>
            <p:nvPr/>
          </p:nvGrpSpPr>
          <p:grpSpPr>
            <a:xfrm>
              <a:off x="7464424" y="3901506"/>
              <a:ext cx="3805593" cy="732436"/>
              <a:chOff x="6598069" y="1219755"/>
              <a:chExt cx="3805593" cy="732436"/>
            </a:xfrm>
          </p:grpSpPr>
          <p:sp>
            <p:nvSpPr>
              <p:cNvPr id="48" name="Скругленный прямоугольник 47">
                <a:extLst>
                  <a:ext uri="{FF2B5EF4-FFF2-40B4-BE49-F238E27FC236}">
                    <a16:creationId xmlns:a16="http://schemas.microsoft.com/office/drawing/2014/main" id="{856961EB-6BAD-6C3E-858C-794DEAD38E03}"/>
                  </a:ext>
                </a:extLst>
              </p:cNvPr>
              <p:cNvSpPr/>
              <p:nvPr/>
            </p:nvSpPr>
            <p:spPr>
              <a:xfrm>
                <a:off x="6600825" y="1219755"/>
                <a:ext cx="3802837" cy="732436"/>
              </a:xfrm>
              <a:prstGeom prst="roundRect">
                <a:avLst>
                  <a:gd name="adj" fmla="val 50000"/>
                </a:avLst>
              </a:prstGeom>
              <a:solidFill>
                <a:srgbClr val="233C78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35A3F029-19E1-908F-2960-C604CB059EDC}"/>
                  </a:ext>
                </a:extLst>
              </p:cNvPr>
              <p:cNvSpPr txBox="1"/>
              <p:nvPr/>
            </p:nvSpPr>
            <p:spPr>
              <a:xfrm>
                <a:off x="7329659" y="1345907"/>
                <a:ext cx="2947081" cy="4801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Open Sans Condensed" pitchFamily="34" charset="0"/>
                    <a:cs typeface="Open Sans Condensed" pitchFamily="34" charset="0"/>
                  </a:rPr>
                  <a:t>Проведения контрольных и проверочных работ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Open Sans Condensed" pitchFamily="34" charset="0"/>
                  <a:cs typeface="Open Sans Condensed" pitchFamily="34" charset="0"/>
                </a:endParaRPr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177B5A27-0942-5089-FB88-F37BD56CF39C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6598069" y="1231373"/>
                <a:ext cx="709200" cy="7092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33C7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5964" y="3960439"/>
              <a:ext cx="577859" cy="656658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Прямоугольник 13"/>
          <p:cNvSpPr/>
          <p:nvPr/>
        </p:nvSpPr>
        <p:spPr>
          <a:xfrm>
            <a:off x="3492114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</a:t>
            </a:r>
          </a:p>
        </p:txBody>
      </p:sp>
      <p:grpSp>
        <p:nvGrpSpPr>
          <p:cNvPr id="32" name="Группа 31"/>
          <p:cNvGrpSpPr/>
          <p:nvPr/>
        </p:nvGrpSpPr>
        <p:grpSpPr>
          <a:xfrm>
            <a:off x="7467183" y="4676117"/>
            <a:ext cx="3805593" cy="732436"/>
            <a:chOff x="7464424" y="3901506"/>
            <a:chExt cx="3805593" cy="732436"/>
          </a:xfrm>
        </p:grpSpPr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id="{BF201AE1-B0D8-70D0-B622-7D7F91F7F6C6}"/>
                </a:ext>
              </a:extLst>
            </p:cNvPr>
            <p:cNvGrpSpPr/>
            <p:nvPr/>
          </p:nvGrpSpPr>
          <p:grpSpPr>
            <a:xfrm>
              <a:off x="7464424" y="3901506"/>
              <a:ext cx="3805593" cy="732436"/>
              <a:chOff x="6598069" y="1219755"/>
              <a:chExt cx="3805593" cy="732436"/>
            </a:xfrm>
          </p:grpSpPr>
          <p:sp>
            <p:nvSpPr>
              <p:cNvPr id="35" name="Скругленный прямоугольник 34">
                <a:extLst>
                  <a:ext uri="{FF2B5EF4-FFF2-40B4-BE49-F238E27FC236}">
                    <a16:creationId xmlns:a16="http://schemas.microsoft.com/office/drawing/2014/main" id="{856961EB-6BAD-6C3E-858C-794DEAD38E03}"/>
                  </a:ext>
                </a:extLst>
              </p:cNvPr>
              <p:cNvSpPr/>
              <p:nvPr/>
            </p:nvSpPr>
            <p:spPr>
              <a:xfrm>
                <a:off x="6600825" y="1219755"/>
                <a:ext cx="3802837" cy="732436"/>
              </a:xfrm>
              <a:prstGeom prst="roundRect">
                <a:avLst>
                  <a:gd name="adj" fmla="val 50000"/>
                </a:avLst>
              </a:prstGeom>
              <a:solidFill>
                <a:srgbClr val="233C78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35A3F029-19E1-908F-2960-C604CB059EDC}"/>
                  </a:ext>
                </a:extLst>
              </p:cNvPr>
              <p:cNvSpPr txBox="1"/>
              <p:nvPr/>
            </p:nvSpPr>
            <p:spPr>
              <a:xfrm>
                <a:off x="7326898" y="1366951"/>
                <a:ext cx="2947081" cy="4801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Open Sans Condensed" pitchFamily="34" charset="0"/>
                    <a:cs typeface="Open Sans Condensed" pitchFamily="34" charset="0"/>
                  </a:rPr>
                  <a:t>Задания можно отправлять из электронных дневников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Open Sans Condensed" pitchFamily="34" charset="0"/>
                  <a:cs typeface="Open Sans Condensed" pitchFamily="34" charset="0"/>
                </a:endParaRPr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177B5A27-0942-5089-FB88-F37BD56CF39C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5400000">
                <a:off x="6598069" y="1231373"/>
                <a:ext cx="709200" cy="7092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233C7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x-none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5964" y="3960439"/>
              <a:ext cx="577859" cy="656658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9C36392B-EDC7-6588-BDAB-719C35481B79}"/>
              </a:ext>
            </a:extLst>
          </p:cNvPr>
          <p:cNvSpPr/>
          <p:nvPr/>
        </p:nvSpPr>
        <p:spPr>
          <a:xfrm>
            <a:off x="7890459" y="6315370"/>
            <a:ext cx="18240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hw.lecta.ru/</a:t>
            </a:r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DF9A8627-8A7B-DBF5-143E-9D594A8CA304}"/>
              </a:ext>
            </a:extLst>
          </p:cNvPr>
          <p:cNvSpPr/>
          <p:nvPr/>
        </p:nvSpPr>
        <p:spPr>
          <a:xfrm>
            <a:off x="7621914" y="6007593"/>
            <a:ext cx="2361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Больше информации </a:t>
            </a:r>
          </a:p>
        </p:txBody>
      </p:sp>
      <p:pic>
        <p:nvPicPr>
          <p:cNvPr id="9218" name="Picture 2" descr="http://qrcoder.ru/code/?https%3A%2F%2Fclck.ru%2FsWWXc&amp;4&amp;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735" y="5722877"/>
            <a:ext cx="1032954" cy="1032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13"/>
          <a:srcRect l="9188" t="5900" r="2861" b="11210"/>
          <a:stretch/>
        </p:blipFill>
        <p:spPr>
          <a:xfrm>
            <a:off x="1474418" y="2468313"/>
            <a:ext cx="4531104" cy="294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08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/>
        </p:nvGrpSpPr>
        <p:grpSpPr>
          <a:xfrm>
            <a:off x="1315403" y="527276"/>
            <a:ext cx="5454630" cy="5791605"/>
            <a:chOff x="0" y="578123"/>
            <a:chExt cx="6039751" cy="6412874"/>
          </a:xfrm>
          <a:solidFill>
            <a:srgbClr val="FF8E8A"/>
          </a:solidFill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2"/>
            <a:srcRect l="5819"/>
            <a:stretch/>
          </p:blipFill>
          <p:spPr>
            <a:xfrm>
              <a:off x="0" y="578123"/>
              <a:ext cx="6039751" cy="6412874"/>
            </a:xfrm>
            <a:prstGeom prst="rect">
              <a:avLst/>
            </a:prstGeom>
            <a:grpFill/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20074" y="2462555"/>
              <a:ext cx="177046" cy="205374"/>
            </a:xfrm>
            <a:prstGeom prst="rect">
              <a:avLst/>
            </a:prstGeom>
            <a:noFill/>
          </p:spPr>
        </p:pic>
      </p:grpSp>
      <p:pic>
        <p:nvPicPr>
          <p:cNvPr id="10" name="Picture 1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589546" y="267490"/>
            <a:ext cx="1737816" cy="62126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770033" y="2669025"/>
            <a:ext cx="4267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>
                <a:solidFill>
                  <a:srgbClr val="5756D3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Roboto Black" panose="02000000000000000000" pitchFamily="2" charset="0"/>
              </a:rPr>
              <a:t>WEBPROSV</a:t>
            </a:r>
            <a:endParaRPr lang="ru-RU" sz="4800" dirty="0">
              <a:solidFill>
                <a:srgbClr val="2E31A2"/>
              </a:solidFill>
              <a:latin typeface="Arial Black" panose="020B0A04020102020204" pitchFamily="34" charset="0"/>
              <a:ea typeface="Roboto Black" panose="02000000000000000000" pitchFamily="2" charset="0"/>
              <a:cs typeface="Roboto Black" panose="02000000000000000000" pitchFamily="2" charset="0"/>
            </a:endParaRPr>
          </a:p>
        </p:txBody>
      </p:sp>
      <p:sp>
        <p:nvSpPr>
          <p:cNvPr id="15" name="TextBox 13"/>
          <p:cNvSpPr txBox="1"/>
          <p:nvPr/>
        </p:nvSpPr>
        <p:spPr>
          <a:xfrm>
            <a:off x="1412779" y="6318881"/>
            <a:ext cx="3429004" cy="4103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60412">
              <a:lnSpc>
                <a:spcPts val="1617"/>
              </a:lnSpc>
              <a:spcBef>
                <a:spcPct val="0"/>
              </a:spcBef>
            </a:pPr>
            <a:endParaRPr sz="13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  <a:p>
            <a:pPr algn="ctr" defTabSz="660412">
              <a:lnSpc>
                <a:spcPts val="1617"/>
              </a:lnSpc>
              <a:spcBef>
                <a:spcPct val="0"/>
              </a:spcBef>
            </a:pPr>
            <a:r>
              <a:rPr lang="en-US" sz="1156" dirty="0">
                <a:solidFill>
                  <a:prstClr val="white">
                    <a:lumMod val="65000"/>
                  </a:prstClr>
                </a:solidFill>
                <a:latin typeface="Lato"/>
              </a:rPr>
              <a:t>© АО «Издательство «Просвещение», 2022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15476" y="5859172"/>
            <a:ext cx="860785" cy="852508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7341945" y="5916094"/>
            <a:ext cx="267353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dirty="0">
                <a:solidFill>
                  <a:srgbClr val="5756D3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Каталог </a:t>
            </a:r>
          </a:p>
          <a:p>
            <a:pPr algn="r"/>
            <a:r>
              <a:rPr lang="ru-RU" sz="1400" dirty="0">
                <a:solidFill>
                  <a:srgbClr val="5756D3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цифровых сервисов </a:t>
            </a:r>
          </a:p>
          <a:p>
            <a:pPr algn="r"/>
            <a:r>
              <a:rPr lang="en-US" sz="1400" dirty="0" err="1">
                <a:solidFill>
                  <a:srgbClr val="5756D3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Lecta</a:t>
            </a:r>
            <a:endParaRPr lang="ru-RU" sz="1050" dirty="0">
              <a:solidFill>
                <a:srgbClr val="2E31A2"/>
              </a:solidFill>
              <a:latin typeface="Arial" panose="020B0604020202020204" pitchFamily="34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741126" y="3500021"/>
            <a:ext cx="513513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промокод на скидку 30% на весь чек </a:t>
            </a:r>
          </a:p>
          <a:p>
            <a:pPr algn="r"/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на платформе </a:t>
            </a:r>
            <a:r>
              <a:rPr lang="en-US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Lecta.ru</a:t>
            </a:r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 </a:t>
            </a:r>
          </a:p>
          <a:p>
            <a:pPr algn="r"/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действителен до </a:t>
            </a:r>
            <a:r>
              <a:rPr lang="en-US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28</a:t>
            </a:r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.0</a:t>
            </a:r>
            <a:r>
              <a:rPr lang="en-US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2</a:t>
            </a:r>
            <a:r>
              <a:rPr lang="ru-RU" sz="1400" dirty="0">
                <a:solidFill>
                  <a:srgbClr val="2E31A2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.2023 включительно</a:t>
            </a:r>
          </a:p>
        </p:txBody>
      </p:sp>
    </p:spTree>
    <p:extLst>
      <p:ext uri="{BB962C8B-B14F-4D97-AF65-F5344CB8AC3E}">
        <p14:creationId xmlns:p14="http://schemas.microsoft.com/office/powerpoint/2010/main" val="600254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550" b="77105"/>
          <a:stretch/>
        </p:blipFill>
        <p:spPr>
          <a:xfrm>
            <a:off x="0" y="5287818"/>
            <a:ext cx="6200118" cy="1570182"/>
          </a:xfrm>
          <a:prstGeom prst="rect">
            <a:avLst/>
          </a:prstGeom>
        </p:spPr>
      </p:pic>
      <p:sp>
        <p:nvSpPr>
          <p:cNvPr id="27" name="TextBox 8"/>
          <p:cNvSpPr txBox="1"/>
          <p:nvPr/>
        </p:nvSpPr>
        <p:spPr>
          <a:xfrm>
            <a:off x="1038229" y="1225810"/>
            <a:ext cx="5815053" cy="21544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800"/>
              </a:lnSpc>
            </a:pPr>
            <a:r>
              <a:rPr lang="ru-RU" sz="2800" b="1" dirty="0" smtClean="0">
                <a:solidFill>
                  <a:srgbClr val="072E6B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КОНТАКТЫ</a:t>
            </a:r>
          </a:p>
          <a:p>
            <a:pPr>
              <a:lnSpc>
                <a:spcPts val="2800"/>
              </a:lnSpc>
            </a:pPr>
            <a:endParaRPr lang="ru-RU" sz="1900" b="1" dirty="0" smtClean="0">
              <a:solidFill>
                <a:srgbClr val="072E6B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  <a:p>
            <a:pPr>
              <a:lnSpc>
                <a:spcPts val="2800"/>
              </a:lnSpc>
            </a:pPr>
            <a:r>
              <a:rPr lang="ru-RU" sz="1900" b="1" dirty="0" smtClean="0">
                <a:solidFill>
                  <a:srgbClr val="072E6B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по вопросам содержания</a:t>
            </a:r>
          </a:p>
          <a:p>
            <a:pPr>
              <a:lnSpc>
                <a:spcPts val="2800"/>
              </a:lnSpc>
            </a:pPr>
            <a:endParaRPr lang="ru-RU" sz="1900" b="1" dirty="0">
              <a:solidFill>
                <a:srgbClr val="072E6B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  <a:p>
            <a:pPr>
              <a:lnSpc>
                <a:spcPts val="2800"/>
              </a:lnSpc>
            </a:pPr>
            <a:r>
              <a:rPr lang="ru-RU" sz="20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vopros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@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osv</a:t>
            </a:r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.</a:t>
            </a:r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ru</a:t>
            </a:r>
            <a:endParaRPr lang="ru-RU" sz="20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ts val="2800"/>
              </a:lnSpc>
            </a:pPr>
            <a:endParaRPr lang="ru-RU" sz="1900" b="1" dirty="0" smtClean="0">
              <a:solidFill>
                <a:srgbClr val="072E6B"/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</p:txBody>
      </p:sp>
      <p:sp>
        <p:nvSpPr>
          <p:cNvPr id="30" name="TextBox 8"/>
          <p:cNvSpPr txBox="1"/>
          <p:nvPr/>
        </p:nvSpPr>
        <p:spPr>
          <a:xfrm>
            <a:off x="1038229" y="3381301"/>
            <a:ext cx="5815053" cy="323165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800"/>
              </a:lnSpc>
            </a:pPr>
            <a:endParaRPr lang="ru-RU" sz="1467" dirty="0">
              <a:latin typeface="Lato Bold"/>
            </a:endParaRPr>
          </a:p>
          <a:p>
            <a:pPr>
              <a:lnSpc>
                <a:spcPts val="2800"/>
              </a:lnSpc>
            </a:pPr>
            <a:r>
              <a:rPr lang="ru-RU" sz="1900" b="1" dirty="0">
                <a:solidFill>
                  <a:srgbClr val="072E6B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п</a:t>
            </a:r>
            <a:r>
              <a:rPr lang="ru-RU" sz="1900" b="1" dirty="0" smtClean="0">
                <a:solidFill>
                  <a:srgbClr val="072E6B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о вопросам приобретения </a:t>
            </a:r>
          </a:p>
          <a:p>
            <a:pPr>
              <a:lnSpc>
                <a:spcPts val="2800"/>
              </a:lnSpc>
            </a:pPr>
            <a:r>
              <a:rPr lang="ru-RU" sz="1600" dirty="0" err="1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Щекарева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Оксана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И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горевна</a:t>
            </a:r>
          </a:p>
          <a:p>
            <a:pPr>
              <a:lnSpc>
                <a:spcPts val="2800"/>
              </a:lnSpc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Тел.: 8 (495)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789-30-40, доб. 6058</a:t>
            </a:r>
          </a:p>
          <a:p>
            <a:pPr>
              <a:lnSpc>
                <a:spcPts val="28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Email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: </a:t>
            </a: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4"/>
              </a:rPr>
              <a:t>IDimova@prosv.ru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  <a:p>
            <a:endParaRPr lang="ru-RU" sz="1600" dirty="0" smtClean="0">
              <a:solidFill>
                <a:schemeClr val="accent1">
                  <a:lumMod val="50000"/>
                </a:schemeClr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  <a:p>
            <a:pPr>
              <a:lnSpc>
                <a:spcPts val="2800"/>
              </a:lnSpc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Антонова Ольга Евгеньевна</a:t>
            </a:r>
          </a:p>
          <a:p>
            <a:pPr>
              <a:lnSpc>
                <a:spcPts val="2800"/>
              </a:lnSpc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Т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ел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.: 8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(987) 518-67-88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  <a:p>
            <a:pPr>
              <a:lnSpc>
                <a:spcPts val="28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Email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: </a:t>
            </a: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  <a:hlinkClick r:id="rId5"/>
              </a:rPr>
              <a:t>OEAntonova@prosv.ru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ru-RU" sz="1600" dirty="0" smtClean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r>
              <a:rPr lang="ru-RU" sz="1467" dirty="0" smtClean="0"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 </a:t>
            </a:r>
            <a:endParaRPr lang="ru-RU" sz="1467" dirty="0">
              <a:latin typeface="Lato" panose="020B0604020202020204" charset="0"/>
              <a:ea typeface="Lato" panose="020B0604020202020204" charset="0"/>
              <a:cs typeface="Lato" panose="020B060402020202020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" t="8420" r="15094" b="2952"/>
          <a:stretch/>
        </p:blipFill>
        <p:spPr>
          <a:xfrm>
            <a:off x="5429249" y="750657"/>
            <a:ext cx="5006223" cy="336004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9" name="Прямоугольник 8"/>
          <p:cNvSpPr/>
          <p:nvPr/>
        </p:nvSpPr>
        <p:spPr>
          <a:xfrm>
            <a:off x="5205053" y="4851608"/>
            <a:ext cx="26432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72E6B"/>
                </a:solidFill>
                <a:latin typeface="Lato" panose="020B0604020202020204" charset="0"/>
                <a:ea typeface="Lato" panose="020B0604020202020204" charset="0"/>
                <a:cs typeface="Lato" panose="020B0604020202020204" charset="0"/>
              </a:rPr>
              <a:t>Больше информации на странице</a:t>
            </a:r>
            <a:endParaRPr lang="ru-RU" dirty="0"/>
          </a:p>
        </p:txBody>
      </p:sp>
      <p:sp>
        <p:nvSpPr>
          <p:cNvPr id="8" name="Стрелка вниз 7"/>
          <p:cNvSpPr/>
          <p:nvPr/>
        </p:nvSpPr>
        <p:spPr>
          <a:xfrm rot="16200000">
            <a:off x="8271250" y="4788402"/>
            <a:ext cx="366781" cy="784233"/>
          </a:xfrm>
          <a:prstGeom prst="down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9312331" y="4959842"/>
            <a:ext cx="170777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7"/>
              </a:rPr>
              <a:t>https://lecta.ru</a:t>
            </a:r>
            <a:r>
              <a:rPr lang="ru-RU" dirty="0" smtClean="0">
                <a:hlinkClick r:id="rId7"/>
              </a:rPr>
              <a:t>/</a:t>
            </a:r>
            <a:endParaRPr lang="ru-RU" dirty="0" smtClean="0"/>
          </a:p>
          <a:p>
            <a:endParaRPr lang="ru-RU" dirty="0"/>
          </a:p>
        </p:txBody>
      </p:sp>
      <p:pic>
        <p:nvPicPr>
          <p:cNvPr id="1026" name="Picture 2" descr="http://disk.yandex.net/qr/?clean=1&amp;text=https://clck.ru/sn4AB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89" y="3515390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84702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19</Words>
  <Application>Microsoft Office PowerPoint</Application>
  <PresentationFormat>Широкоэкранный</PresentationFormat>
  <Paragraphs>39</Paragraphs>
  <Slides>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8" baseType="lpstr">
      <vt:lpstr>Arial</vt:lpstr>
      <vt:lpstr>Arial Black</vt:lpstr>
      <vt:lpstr>Calibri</vt:lpstr>
      <vt:lpstr>Calibri Light</vt:lpstr>
      <vt:lpstr>Lato</vt:lpstr>
      <vt:lpstr>Lato Bold</vt:lpstr>
      <vt:lpstr>Open Sans</vt:lpstr>
      <vt:lpstr>Open Sans Condensed</vt:lpstr>
      <vt:lpstr>Open Sans Light</vt:lpstr>
      <vt:lpstr>Roboto Black</vt:lpstr>
      <vt:lpstr>Тема Office</vt:lpstr>
      <vt:lpstr>1_Тема Office</vt:lpstr>
      <vt:lpstr>2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бкова Наталья Петровна</dc:creator>
  <cp:lastModifiedBy>Бобкова Наталья Петровна</cp:lastModifiedBy>
  <cp:revision>3</cp:revision>
  <dcterms:created xsi:type="dcterms:W3CDTF">2023-02-16T09:18:57Z</dcterms:created>
  <dcterms:modified xsi:type="dcterms:W3CDTF">2023-02-21T14:33:25Z</dcterms:modified>
</cp:coreProperties>
</file>